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37240B-70FF-4119-BF44-8AB7A0CE16FD}" v="20" dt="2024-08-31T13:54:59.8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>
        <p:scale>
          <a:sx n="75" d="100"/>
          <a:sy n="75" d="100"/>
        </p:scale>
        <p:origin x="324" y="-160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arma, Puneet K SBOBNG-PTIY/BHC" userId="1e691898-56e4-4ebc-bd46-ef8059d4d601" providerId="ADAL" clId="{1D37240B-70FF-4119-BF44-8AB7A0CE16FD}"/>
    <pc:docChg chg="undo custSel modSld">
      <pc:chgData name="Sharma, Puneet K SBOBNG-PTIY/BHC" userId="1e691898-56e4-4ebc-bd46-ef8059d4d601" providerId="ADAL" clId="{1D37240B-70FF-4119-BF44-8AB7A0CE16FD}" dt="2024-08-31T14:07:20.416" v="11476" actId="20577"/>
      <pc:docMkLst>
        <pc:docMk/>
      </pc:docMkLst>
      <pc:sldChg chg="modSp mod">
        <pc:chgData name="Sharma, Puneet K SBOBNG-PTIY/BHC" userId="1e691898-56e4-4ebc-bd46-ef8059d4d601" providerId="ADAL" clId="{1D37240B-70FF-4119-BF44-8AB7A0CE16FD}" dt="2024-08-31T12:43:51.541" v="6183" actId="20577"/>
        <pc:sldMkLst>
          <pc:docMk/>
          <pc:sldMk cId="3267775274" sldId="256"/>
        </pc:sldMkLst>
        <pc:spChg chg="mod">
          <ac:chgData name="Sharma, Puneet K SBOBNG-PTIY/BHC" userId="1e691898-56e4-4ebc-bd46-ef8059d4d601" providerId="ADAL" clId="{1D37240B-70FF-4119-BF44-8AB7A0CE16FD}" dt="2024-08-30T16:03:19.742" v="5" actId="20577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Sharma, Puneet K SBOBNG-PTIY/BHC" userId="1e691898-56e4-4ebc-bd46-ef8059d4d601" providerId="ADAL" clId="{1D37240B-70FF-4119-BF44-8AB7A0CE16FD}" dt="2024-08-30T16:03:32.675" v="30" actId="20577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Sharma, Puneet K SBOBNG-PTIY/BHC" userId="1e691898-56e4-4ebc-bd46-ef8059d4d601" providerId="ADAL" clId="{1D37240B-70FF-4119-BF44-8AB7A0CE16FD}" dt="2024-08-31T12:43:51.541" v="6183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addSp delSp modSp mod">
        <pc:chgData name="Sharma, Puneet K SBOBNG-PTIY/BHC" userId="1e691898-56e4-4ebc-bd46-ef8059d4d601" providerId="ADAL" clId="{1D37240B-70FF-4119-BF44-8AB7A0CE16FD}" dt="2024-08-31T13:54:59.887" v="11448" actId="1076"/>
        <pc:sldMkLst>
          <pc:docMk/>
          <pc:sldMk cId="867832184" sldId="2147375589"/>
        </pc:sldMkLst>
        <pc:spChg chg="mod">
          <ac:chgData name="Sharma, Puneet K SBOBNG-PTIY/BHC" userId="1e691898-56e4-4ebc-bd46-ef8059d4d601" providerId="ADAL" clId="{1D37240B-70FF-4119-BF44-8AB7A0CE16FD}" dt="2024-08-31T13:52:15.570" v="11438" actId="20577"/>
          <ac:spMkLst>
            <pc:docMk/>
            <pc:sldMk cId="867832184" sldId="2147375589"/>
            <ac:spMk id="10" creationId="{1119CB9E-042F-11E8-F683-654626D307B3}"/>
          </ac:spMkLst>
        </pc:spChg>
        <pc:spChg chg="del mod">
          <ac:chgData name="Sharma, Puneet K SBOBNG-PTIY/BHC" userId="1e691898-56e4-4ebc-bd46-ef8059d4d601" providerId="ADAL" clId="{1D37240B-70FF-4119-BF44-8AB7A0CE16FD}" dt="2024-08-30T16:14:52.721" v="236" actId="478"/>
          <ac:spMkLst>
            <pc:docMk/>
            <pc:sldMk cId="867832184" sldId="2147375589"/>
            <ac:spMk id="11" creationId="{CE0DDF5F-FE47-F9A2-FE84-53B63DFF494D}"/>
          </ac:spMkLst>
        </pc:spChg>
        <pc:picChg chg="add del mod">
          <ac:chgData name="Sharma, Puneet K SBOBNG-PTIY/BHC" userId="1e691898-56e4-4ebc-bd46-ef8059d4d601" providerId="ADAL" clId="{1D37240B-70FF-4119-BF44-8AB7A0CE16FD}" dt="2024-08-30T16:14:52.721" v="236" actId="478"/>
          <ac:picMkLst>
            <pc:docMk/>
            <pc:sldMk cId="867832184" sldId="2147375589"/>
            <ac:picMk id="1026" creationId="{5CF0E2FE-818A-7F70-C141-4502F19CC735}"/>
          </ac:picMkLst>
        </pc:picChg>
        <pc:picChg chg="add mod">
          <ac:chgData name="Sharma, Puneet K SBOBNG-PTIY/BHC" userId="1e691898-56e4-4ebc-bd46-ef8059d4d601" providerId="ADAL" clId="{1D37240B-70FF-4119-BF44-8AB7A0CE16FD}" dt="2024-08-31T13:54:59.887" v="11448" actId="1076"/>
          <ac:picMkLst>
            <pc:docMk/>
            <pc:sldMk cId="867832184" sldId="2147375589"/>
            <ac:picMk id="1026" creationId="{BEA4036C-EFE0-45DD-2E14-E80E0FF2464B}"/>
          </ac:picMkLst>
        </pc:picChg>
      </pc:sldChg>
      <pc:sldChg chg="addSp modSp mod">
        <pc:chgData name="Sharma, Puneet K SBOBNG-PTIY/BHC" userId="1e691898-56e4-4ebc-bd46-ef8059d4d601" providerId="ADAL" clId="{1D37240B-70FF-4119-BF44-8AB7A0CE16FD}" dt="2024-08-31T12:44:47.241" v="6201" actId="20577"/>
        <pc:sldMkLst>
          <pc:docMk/>
          <pc:sldMk cId="245881457" sldId="2147375597"/>
        </pc:sldMkLst>
        <pc:spChg chg="mod">
          <ac:chgData name="Sharma, Puneet K SBOBNG-PTIY/BHC" userId="1e691898-56e4-4ebc-bd46-ef8059d4d601" providerId="ADAL" clId="{1D37240B-70FF-4119-BF44-8AB7A0CE16FD}" dt="2024-08-31T12:44:47.241" v="6201" actId="20577"/>
          <ac:spMkLst>
            <pc:docMk/>
            <pc:sldMk cId="245881457" sldId="2147375597"/>
            <ac:spMk id="3" creationId="{CEA128C4-A0BC-A895-713C-306E7FF62894}"/>
          </ac:spMkLst>
        </pc:spChg>
        <pc:spChg chg="mod">
          <ac:chgData name="Sharma, Puneet K SBOBNG-PTIY/BHC" userId="1e691898-56e4-4ebc-bd46-ef8059d4d601" providerId="ADAL" clId="{1D37240B-70FF-4119-BF44-8AB7A0CE16FD}" dt="2024-08-30T16:32:20.208" v="748" actId="20577"/>
          <ac:spMkLst>
            <pc:docMk/>
            <pc:sldMk cId="245881457" sldId="2147375597"/>
            <ac:spMk id="11" creationId="{DE9F1BE0-7910-FA1B-DCE8-56EFD1E4FC09}"/>
          </ac:spMkLst>
        </pc:spChg>
        <pc:spChg chg="mod">
          <ac:chgData name="Sharma, Puneet K SBOBNG-PTIY/BHC" userId="1e691898-56e4-4ebc-bd46-ef8059d4d601" providerId="ADAL" clId="{1D37240B-70FF-4119-BF44-8AB7A0CE16FD}" dt="2024-08-30T16:32:39.742" v="806" actId="20577"/>
          <ac:spMkLst>
            <pc:docMk/>
            <pc:sldMk cId="245881457" sldId="2147375597"/>
            <ac:spMk id="12" creationId="{E53E5C3F-4D2B-B85F-E592-E58E032C664C}"/>
          </ac:spMkLst>
        </pc:spChg>
        <pc:picChg chg="add mod modCrop">
          <ac:chgData name="Sharma, Puneet K SBOBNG-PTIY/BHC" userId="1e691898-56e4-4ebc-bd46-ef8059d4d601" providerId="ADAL" clId="{1D37240B-70FF-4119-BF44-8AB7A0CE16FD}" dt="2024-08-30T16:35:16.255" v="816" actId="1076"/>
          <ac:picMkLst>
            <pc:docMk/>
            <pc:sldMk cId="245881457" sldId="2147375597"/>
            <ac:picMk id="5" creationId="{49792A22-6834-3D0C-C4DC-746BC582BB37}"/>
          </ac:picMkLst>
        </pc:picChg>
      </pc:sldChg>
      <pc:sldChg chg="addSp modSp mod">
        <pc:chgData name="Sharma, Puneet K SBOBNG-PTIY/BHC" userId="1e691898-56e4-4ebc-bd46-ef8059d4d601" providerId="ADAL" clId="{1D37240B-70FF-4119-BF44-8AB7A0CE16FD}" dt="2024-08-31T12:45:10.473" v="6239" actId="20577"/>
        <pc:sldMkLst>
          <pc:docMk/>
          <pc:sldMk cId="1181112711" sldId="2147375600"/>
        </pc:sldMkLst>
        <pc:spChg chg="mod">
          <ac:chgData name="Sharma, Puneet K SBOBNG-PTIY/BHC" userId="1e691898-56e4-4ebc-bd46-ef8059d4d601" providerId="ADAL" clId="{1D37240B-70FF-4119-BF44-8AB7A0CE16FD}" dt="2024-08-31T12:45:10.473" v="6239" actId="20577"/>
          <ac:spMkLst>
            <pc:docMk/>
            <pc:sldMk cId="1181112711" sldId="2147375600"/>
            <ac:spMk id="3" creationId="{CEA128C4-A0BC-A895-713C-306E7FF62894}"/>
          </ac:spMkLst>
        </pc:spChg>
        <pc:spChg chg="mod">
          <ac:chgData name="Sharma, Puneet K SBOBNG-PTIY/BHC" userId="1e691898-56e4-4ebc-bd46-ef8059d4d601" providerId="ADAL" clId="{1D37240B-70FF-4119-BF44-8AB7A0CE16FD}" dt="2024-08-30T16:45:06.401" v="1450" actId="20577"/>
          <ac:spMkLst>
            <pc:docMk/>
            <pc:sldMk cId="1181112711" sldId="2147375600"/>
            <ac:spMk id="11" creationId="{DE9F1BE0-7910-FA1B-DCE8-56EFD1E4FC09}"/>
          </ac:spMkLst>
        </pc:spChg>
        <pc:spChg chg="mod">
          <ac:chgData name="Sharma, Puneet K SBOBNG-PTIY/BHC" userId="1e691898-56e4-4ebc-bd46-ef8059d4d601" providerId="ADAL" clId="{1D37240B-70FF-4119-BF44-8AB7A0CE16FD}" dt="2024-08-30T16:45:15.653" v="1508" actId="20577"/>
          <ac:spMkLst>
            <pc:docMk/>
            <pc:sldMk cId="1181112711" sldId="2147375600"/>
            <ac:spMk id="12" creationId="{E53E5C3F-4D2B-B85F-E592-E58E032C664C}"/>
          </ac:spMkLst>
        </pc:spChg>
        <pc:picChg chg="add mod">
          <ac:chgData name="Sharma, Puneet K SBOBNG-PTIY/BHC" userId="1e691898-56e4-4ebc-bd46-ef8059d4d601" providerId="ADAL" clId="{1D37240B-70FF-4119-BF44-8AB7A0CE16FD}" dt="2024-08-30T16:45:42.394" v="1514" actId="14100"/>
          <ac:picMkLst>
            <pc:docMk/>
            <pc:sldMk cId="1181112711" sldId="2147375600"/>
            <ac:picMk id="5" creationId="{22EA7F0D-89AA-EC55-66CC-48ED364C027E}"/>
          </ac:picMkLst>
        </pc:picChg>
      </pc:sldChg>
      <pc:sldChg chg="addSp modSp mod">
        <pc:chgData name="Sharma, Puneet K SBOBNG-PTIY/BHC" userId="1e691898-56e4-4ebc-bd46-ef8059d4d601" providerId="ADAL" clId="{1D37240B-70FF-4119-BF44-8AB7A0CE16FD}" dt="2024-08-31T14:00:17.932" v="11458" actId="20577"/>
        <pc:sldMkLst>
          <pc:docMk/>
          <pc:sldMk cId="3233747587" sldId="2147375601"/>
        </pc:sldMkLst>
        <pc:spChg chg="mod">
          <ac:chgData name="Sharma, Puneet K SBOBNG-PTIY/BHC" userId="1e691898-56e4-4ebc-bd46-ef8059d4d601" providerId="ADAL" clId="{1D37240B-70FF-4119-BF44-8AB7A0CE16FD}" dt="2024-08-31T12:45:56.363" v="6334" actId="20577"/>
          <ac:spMkLst>
            <pc:docMk/>
            <pc:sldMk cId="3233747587" sldId="2147375601"/>
            <ac:spMk id="3" creationId="{CEA128C4-A0BC-A895-713C-306E7FF62894}"/>
          </ac:spMkLst>
        </pc:spChg>
        <pc:spChg chg="mod">
          <ac:chgData name="Sharma, Puneet K SBOBNG-PTIY/BHC" userId="1e691898-56e4-4ebc-bd46-ef8059d4d601" providerId="ADAL" clId="{1D37240B-70FF-4119-BF44-8AB7A0CE16FD}" dt="2024-08-31T14:00:17.932" v="11458" actId="20577"/>
          <ac:spMkLst>
            <pc:docMk/>
            <pc:sldMk cId="3233747587" sldId="2147375601"/>
            <ac:spMk id="11" creationId="{DE9F1BE0-7910-FA1B-DCE8-56EFD1E4FC09}"/>
          </ac:spMkLst>
        </pc:spChg>
        <pc:spChg chg="mod">
          <ac:chgData name="Sharma, Puneet K SBOBNG-PTIY/BHC" userId="1e691898-56e4-4ebc-bd46-ef8059d4d601" providerId="ADAL" clId="{1D37240B-70FF-4119-BF44-8AB7A0CE16FD}" dt="2024-08-30T16:50:53.171" v="2291" actId="20577"/>
          <ac:spMkLst>
            <pc:docMk/>
            <pc:sldMk cId="3233747587" sldId="2147375601"/>
            <ac:spMk id="12" creationId="{E53E5C3F-4D2B-B85F-E592-E58E032C664C}"/>
          </ac:spMkLst>
        </pc:spChg>
        <pc:picChg chg="add mod">
          <ac:chgData name="Sharma, Puneet K SBOBNG-PTIY/BHC" userId="1e691898-56e4-4ebc-bd46-ef8059d4d601" providerId="ADAL" clId="{1D37240B-70FF-4119-BF44-8AB7A0CE16FD}" dt="2024-08-30T16:53:55.500" v="2294" actId="14100"/>
          <ac:picMkLst>
            <pc:docMk/>
            <pc:sldMk cId="3233747587" sldId="2147375601"/>
            <ac:picMk id="5" creationId="{26F7A6F9-811C-EA51-498A-A15647772E33}"/>
          </ac:picMkLst>
        </pc:picChg>
      </pc:sldChg>
      <pc:sldChg chg="modSp mod">
        <pc:chgData name="Sharma, Puneet K SBOBNG-PTIY/BHC" userId="1e691898-56e4-4ebc-bd46-ef8059d4d601" providerId="ADAL" clId="{1D37240B-70FF-4119-BF44-8AB7A0CE16FD}" dt="2024-08-31T14:01:21.671" v="11460" actId="20577"/>
        <pc:sldMkLst>
          <pc:docMk/>
          <pc:sldMk cId="3971512377" sldId="2147375603"/>
        </pc:sldMkLst>
        <pc:spChg chg="mod">
          <ac:chgData name="Sharma, Puneet K SBOBNG-PTIY/BHC" userId="1e691898-56e4-4ebc-bd46-ef8059d4d601" providerId="ADAL" clId="{1D37240B-70FF-4119-BF44-8AB7A0CE16FD}" dt="2024-08-31T12:46:19.346" v="6354" actId="20577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Sharma, Puneet K SBOBNG-PTIY/BHC" userId="1e691898-56e4-4ebc-bd46-ef8059d4d601" providerId="ADAL" clId="{1D37240B-70FF-4119-BF44-8AB7A0CE16FD}" dt="2024-08-31T14:01:21.671" v="11460" actId="20577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Sharma, Puneet K SBOBNG-PTIY/BHC" userId="1e691898-56e4-4ebc-bd46-ef8059d4d601" providerId="ADAL" clId="{1D37240B-70FF-4119-BF44-8AB7A0CE16FD}" dt="2024-08-31T12:46:49.053" v="6426" actId="20577"/>
          <ac:spMkLst>
            <pc:docMk/>
            <pc:sldMk cId="3971512377" sldId="2147375603"/>
            <ac:spMk id="12" creationId="{E53E5C3F-4D2B-B85F-E592-E58E032C664C}"/>
          </ac:spMkLst>
        </pc:spChg>
      </pc:sldChg>
      <pc:sldChg chg="modSp mod">
        <pc:chgData name="Sharma, Puneet K SBOBNG-PTIY/BHC" userId="1e691898-56e4-4ebc-bd46-ef8059d4d601" providerId="ADAL" clId="{1D37240B-70FF-4119-BF44-8AB7A0CE16FD}" dt="2024-08-31T14:01:54.602" v="11463" actId="20577"/>
        <pc:sldMkLst>
          <pc:docMk/>
          <pc:sldMk cId="3179805674" sldId="2147375604"/>
        </pc:sldMkLst>
        <pc:spChg chg="mod">
          <ac:chgData name="Sharma, Puneet K SBOBNG-PTIY/BHC" userId="1e691898-56e4-4ebc-bd46-ef8059d4d601" providerId="ADAL" clId="{1D37240B-70FF-4119-BF44-8AB7A0CE16FD}" dt="2024-08-31T12:47:50.027" v="6463" actId="20577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Sharma, Puneet K SBOBNG-PTIY/BHC" userId="1e691898-56e4-4ebc-bd46-ef8059d4d601" providerId="ADAL" clId="{1D37240B-70FF-4119-BF44-8AB7A0CE16FD}" dt="2024-08-31T14:01:54.602" v="11463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Sharma, Puneet K SBOBNG-PTIY/BHC" userId="1e691898-56e4-4ebc-bd46-ef8059d4d601" providerId="ADAL" clId="{1D37240B-70FF-4119-BF44-8AB7A0CE16FD}" dt="2024-08-31T12:47:59.820" v="6535" actId="20577"/>
          <ac:spMkLst>
            <pc:docMk/>
            <pc:sldMk cId="3179805674" sldId="2147375604"/>
            <ac:spMk id="12" creationId="{E53E5C3F-4D2B-B85F-E592-E58E032C664C}"/>
          </ac:spMkLst>
        </pc:spChg>
      </pc:sldChg>
      <pc:sldChg chg="modSp mod">
        <pc:chgData name="Sharma, Puneet K SBOBNG-PTIY/BHC" userId="1e691898-56e4-4ebc-bd46-ef8059d4d601" providerId="ADAL" clId="{1D37240B-70FF-4119-BF44-8AB7A0CE16FD}" dt="2024-08-31T14:03:01.039" v="11469" actId="20577"/>
        <pc:sldMkLst>
          <pc:docMk/>
          <pc:sldMk cId="86366928" sldId="2147375605"/>
        </pc:sldMkLst>
        <pc:spChg chg="mod">
          <ac:chgData name="Sharma, Puneet K SBOBNG-PTIY/BHC" userId="1e691898-56e4-4ebc-bd46-ef8059d4d601" providerId="ADAL" clId="{1D37240B-70FF-4119-BF44-8AB7A0CE16FD}" dt="2024-08-31T12:48:25.022" v="6601" actId="20577"/>
          <ac:spMkLst>
            <pc:docMk/>
            <pc:sldMk cId="86366928" sldId="2147375605"/>
            <ac:spMk id="3" creationId="{CEA128C4-A0BC-A895-713C-306E7FF62894}"/>
          </ac:spMkLst>
        </pc:spChg>
        <pc:spChg chg="mod">
          <ac:chgData name="Sharma, Puneet K SBOBNG-PTIY/BHC" userId="1e691898-56e4-4ebc-bd46-ef8059d4d601" providerId="ADAL" clId="{1D37240B-70FF-4119-BF44-8AB7A0CE16FD}" dt="2024-08-31T14:03:01.039" v="11469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Sharma, Puneet K SBOBNG-PTIY/BHC" userId="1e691898-56e4-4ebc-bd46-ef8059d4d601" providerId="ADAL" clId="{1D37240B-70FF-4119-BF44-8AB7A0CE16FD}" dt="2024-08-31T12:48:32.207" v="6673" actId="20577"/>
          <ac:spMkLst>
            <pc:docMk/>
            <pc:sldMk cId="86366928" sldId="2147375605"/>
            <ac:spMk id="12" creationId="{E53E5C3F-4D2B-B85F-E592-E58E032C664C}"/>
          </ac:spMkLst>
        </pc:spChg>
      </pc:sldChg>
      <pc:sldChg chg="addSp delSp modSp mod">
        <pc:chgData name="Sharma, Puneet K SBOBNG-PTIY/BHC" userId="1e691898-56e4-4ebc-bd46-ef8059d4d601" providerId="ADAL" clId="{1D37240B-70FF-4119-BF44-8AB7A0CE16FD}" dt="2024-08-31T12:57:12.920" v="7401" actId="1076"/>
        <pc:sldMkLst>
          <pc:docMk/>
          <pc:sldMk cId="2340944189" sldId="2147375607"/>
        </pc:sldMkLst>
        <pc:spChg chg="mod">
          <ac:chgData name="Sharma, Puneet K SBOBNG-PTIY/BHC" userId="1e691898-56e4-4ebc-bd46-ef8059d4d601" providerId="ADAL" clId="{1D37240B-70FF-4119-BF44-8AB7A0CE16FD}" dt="2024-08-31T12:48:50.797" v="6693" actId="20577"/>
          <ac:spMkLst>
            <pc:docMk/>
            <pc:sldMk cId="2340944189" sldId="2147375607"/>
            <ac:spMk id="3" creationId="{CEA128C4-A0BC-A895-713C-306E7FF62894}"/>
          </ac:spMkLst>
        </pc:spChg>
        <pc:spChg chg="add del mod">
          <ac:chgData name="Sharma, Puneet K SBOBNG-PTIY/BHC" userId="1e691898-56e4-4ebc-bd46-ef8059d4d601" providerId="ADAL" clId="{1D37240B-70FF-4119-BF44-8AB7A0CE16FD}" dt="2024-08-31T12:55:48.647" v="7316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Sharma, Puneet K SBOBNG-PTIY/BHC" userId="1e691898-56e4-4ebc-bd46-ef8059d4d601" providerId="ADAL" clId="{1D37240B-70FF-4119-BF44-8AB7A0CE16FD}" dt="2024-08-31T12:56:05.357" v="7397" actId="20577"/>
          <ac:spMkLst>
            <pc:docMk/>
            <pc:sldMk cId="2340944189" sldId="2147375607"/>
            <ac:spMk id="12" creationId="{E53E5C3F-4D2B-B85F-E592-E58E032C664C}"/>
          </ac:spMkLst>
        </pc:spChg>
        <pc:picChg chg="add mod">
          <ac:chgData name="Sharma, Puneet K SBOBNG-PTIY/BHC" userId="1e691898-56e4-4ebc-bd46-ef8059d4d601" providerId="ADAL" clId="{1D37240B-70FF-4119-BF44-8AB7A0CE16FD}" dt="2024-08-31T12:57:12.920" v="7401" actId="1076"/>
          <ac:picMkLst>
            <pc:docMk/>
            <pc:sldMk cId="2340944189" sldId="2147375607"/>
            <ac:picMk id="6" creationId="{6172F34F-1F13-6029-BF45-56477759D190}"/>
          </ac:picMkLst>
        </pc:picChg>
      </pc:sldChg>
      <pc:sldChg chg="addSp modSp mod">
        <pc:chgData name="Sharma, Puneet K SBOBNG-PTIY/BHC" userId="1e691898-56e4-4ebc-bd46-ef8059d4d601" providerId="ADAL" clId="{1D37240B-70FF-4119-BF44-8AB7A0CE16FD}" dt="2024-08-31T13:02:42.430" v="8002" actId="1076"/>
        <pc:sldMkLst>
          <pc:docMk/>
          <pc:sldMk cId="3159148252" sldId="2147375608"/>
        </pc:sldMkLst>
        <pc:spChg chg="mod">
          <ac:chgData name="Sharma, Puneet K SBOBNG-PTIY/BHC" userId="1e691898-56e4-4ebc-bd46-ef8059d4d601" providerId="ADAL" clId="{1D37240B-70FF-4119-BF44-8AB7A0CE16FD}" dt="2024-08-31T12:57:40.399" v="7433" actId="20577"/>
          <ac:spMkLst>
            <pc:docMk/>
            <pc:sldMk cId="3159148252" sldId="2147375608"/>
            <ac:spMk id="3" creationId="{CEA128C4-A0BC-A895-713C-306E7FF62894}"/>
          </ac:spMkLst>
        </pc:spChg>
        <pc:spChg chg="mod">
          <ac:chgData name="Sharma, Puneet K SBOBNG-PTIY/BHC" userId="1e691898-56e4-4ebc-bd46-ef8059d4d601" providerId="ADAL" clId="{1D37240B-70FF-4119-BF44-8AB7A0CE16FD}" dt="2024-08-31T13:01:04.621" v="7917" actId="20577"/>
          <ac:spMkLst>
            <pc:docMk/>
            <pc:sldMk cId="3159148252" sldId="2147375608"/>
            <ac:spMk id="11" creationId="{DE9F1BE0-7910-FA1B-DCE8-56EFD1E4FC09}"/>
          </ac:spMkLst>
        </pc:spChg>
        <pc:spChg chg="mod">
          <ac:chgData name="Sharma, Puneet K SBOBNG-PTIY/BHC" userId="1e691898-56e4-4ebc-bd46-ef8059d4d601" providerId="ADAL" clId="{1D37240B-70FF-4119-BF44-8AB7A0CE16FD}" dt="2024-08-31T13:02:23.818" v="7998" actId="20577"/>
          <ac:spMkLst>
            <pc:docMk/>
            <pc:sldMk cId="3159148252" sldId="2147375608"/>
            <ac:spMk id="12" creationId="{E53E5C3F-4D2B-B85F-E592-E58E032C664C}"/>
          </ac:spMkLst>
        </pc:spChg>
        <pc:picChg chg="add mod">
          <ac:chgData name="Sharma, Puneet K SBOBNG-PTIY/BHC" userId="1e691898-56e4-4ebc-bd46-ef8059d4d601" providerId="ADAL" clId="{1D37240B-70FF-4119-BF44-8AB7A0CE16FD}" dt="2024-08-31T13:02:42.430" v="8002" actId="1076"/>
          <ac:picMkLst>
            <pc:docMk/>
            <pc:sldMk cId="3159148252" sldId="2147375608"/>
            <ac:picMk id="6" creationId="{863658F3-5C30-F8BD-1AA5-16FEC0B6B321}"/>
          </ac:picMkLst>
        </pc:picChg>
      </pc:sldChg>
      <pc:sldChg chg="addSp modSp mod">
        <pc:chgData name="Sharma, Puneet K SBOBNG-PTIY/BHC" userId="1e691898-56e4-4ebc-bd46-ef8059d4d601" providerId="ADAL" clId="{1D37240B-70FF-4119-BF44-8AB7A0CE16FD}" dt="2024-08-31T13:07:45.482" v="8491" actId="14100"/>
        <pc:sldMkLst>
          <pc:docMk/>
          <pc:sldMk cId="3070204084" sldId="2147375609"/>
        </pc:sldMkLst>
        <pc:spChg chg="mod">
          <ac:chgData name="Sharma, Puneet K SBOBNG-PTIY/BHC" userId="1e691898-56e4-4ebc-bd46-ef8059d4d601" providerId="ADAL" clId="{1D37240B-70FF-4119-BF44-8AB7A0CE16FD}" dt="2024-08-31T13:03:06.683" v="8033" actId="20577"/>
          <ac:spMkLst>
            <pc:docMk/>
            <pc:sldMk cId="3070204084" sldId="2147375609"/>
            <ac:spMk id="3" creationId="{CEA128C4-A0BC-A895-713C-306E7FF62894}"/>
          </ac:spMkLst>
        </pc:spChg>
        <pc:spChg chg="mod">
          <ac:chgData name="Sharma, Puneet K SBOBNG-PTIY/BHC" userId="1e691898-56e4-4ebc-bd46-ef8059d4d601" providerId="ADAL" clId="{1D37240B-70FF-4119-BF44-8AB7A0CE16FD}" dt="2024-08-31T13:06:22.013" v="8405" actId="20577"/>
          <ac:spMkLst>
            <pc:docMk/>
            <pc:sldMk cId="3070204084" sldId="2147375609"/>
            <ac:spMk id="11" creationId="{DE9F1BE0-7910-FA1B-DCE8-56EFD1E4FC09}"/>
          </ac:spMkLst>
        </pc:spChg>
        <pc:spChg chg="mod">
          <ac:chgData name="Sharma, Puneet K SBOBNG-PTIY/BHC" userId="1e691898-56e4-4ebc-bd46-ef8059d4d601" providerId="ADAL" clId="{1D37240B-70FF-4119-BF44-8AB7A0CE16FD}" dt="2024-08-31T13:06:42.885" v="8486" actId="20577"/>
          <ac:spMkLst>
            <pc:docMk/>
            <pc:sldMk cId="3070204084" sldId="2147375609"/>
            <ac:spMk id="12" creationId="{E53E5C3F-4D2B-B85F-E592-E58E032C664C}"/>
          </ac:spMkLst>
        </pc:spChg>
        <pc:picChg chg="add mod">
          <ac:chgData name="Sharma, Puneet K SBOBNG-PTIY/BHC" userId="1e691898-56e4-4ebc-bd46-ef8059d4d601" providerId="ADAL" clId="{1D37240B-70FF-4119-BF44-8AB7A0CE16FD}" dt="2024-08-31T13:07:45.482" v="8491" actId="14100"/>
          <ac:picMkLst>
            <pc:docMk/>
            <pc:sldMk cId="3070204084" sldId="2147375609"/>
            <ac:picMk id="6" creationId="{0C4FBACA-FD04-3AB1-B0CB-0634FBEBBA2A}"/>
          </ac:picMkLst>
        </pc:picChg>
      </pc:sldChg>
      <pc:sldChg chg="modSp mod">
        <pc:chgData name="Sharma, Puneet K SBOBNG-PTIY/BHC" userId="1e691898-56e4-4ebc-bd46-ef8059d4d601" providerId="ADAL" clId="{1D37240B-70FF-4119-BF44-8AB7A0CE16FD}" dt="2024-08-31T13:25:02.396" v="9488" actId="20577"/>
        <pc:sldMkLst>
          <pc:docMk/>
          <pc:sldMk cId="3754613224" sldId="2147375611"/>
        </pc:sldMkLst>
        <pc:spChg chg="mod">
          <ac:chgData name="Sharma, Puneet K SBOBNG-PTIY/BHC" userId="1e691898-56e4-4ebc-bd46-ef8059d4d601" providerId="ADAL" clId="{1D37240B-70FF-4119-BF44-8AB7A0CE16FD}" dt="2024-08-31T13:20:36.262" v="8894" actId="20577"/>
          <ac:spMkLst>
            <pc:docMk/>
            <pc:sldMk cId="3754613224" sldId="2147375611"/>
            <ac:spMk id="18" creationId="{6C73795A-BE20-7075-E9C6-6F145CE60794}"/>
          </ac:spMkLst>
        </pc:spChg>
        <pc:spChg chg="mod">
          <ac:chgData name="Sharma, Puneet K SBOBNG-PTIY/BHC" userId="1e691898-56e4-4ebc-bd46-ef8059d4d601" providerId="ADAL" clId="{1D37240B-70FF-4119-BF44-8AB7A0CE16FD}" dt="2024-08-31T13:21:48.435" v="9036" actId="20577"/>
          <ac:spMkLst>
            <pc:docMk/>
            <pc:sldMk cId="3754613224" sldId="2147375611"/>
            <ac:spMk id="19" creationId="{A3E2F4D1-4417-E244-3DB9-A6FF5866A342}"/>
          </ac:spMkLst>
        </pc:spChg>
        <pc:spChg chg="mod">
          <ac:chgData name="Sharma, Puneet K SBOBNG-PTIY/BHC" userId="1e691898-56e4-4ebc-bd46-ef8059d4d601" providerId="ADAL" clId="{1D37240B-70FF-4119-BF44-8AB7A0CE16FD}" dt="2024-08-31T13:25:02.396" v="9488" actId="20577"/>
          <ac:spMkLst>
            <pc:docMk/>
            <pc:sldMk cId="3754613224" sldId="2147375611"/>
            <ac:spMk id="20" creationId="{3EBEB0AC-D407-44FD-A74F-90F67F3D13C3}"/>
          </ac:spMkLst>
        </pc:spChg>
      </pc:sldChg>
      <pc:sldChg chg="addSp modSp mod">
        <pc:chgData name="Sharma, Puneet K SBOBNG-PTIY/BHC" userId="1e691898-56e4-4ebc-bd46-ef8059d4d601" providerId="ADAL" clId="{1D37240B-70FF-4119-BF44-8AB7A0CE16FD}" dt="2024-08-30T17:50:46.116" v="6181" actId="14100"/>
        <pc:sldMkLst>
          <pc:docMk/>
          <pc:sldMk cId="1148838763" sldId="2147375613"/>
        </pc:sldMkLst>
        <pc:spChg chg="mod">
          <ac:chgData name="Sharma, Puneet K SBOBNG-PTIY/BHC" userId="1e691898-56e4-4ebc-bd46-ef8059d4d601" providerId="ADAL" clId="{1D37240B-70FF-4119-BF44-8AB7A0CE16FD}" dt="2024-08-30T17:44:58.566" v="6099" actId="20578"/>
          <ac:spMkLst>
            <pc:docMk/>
            <pc:sldMk cId="1148838763" sldId="2147375613"/>
            <ac:spMk id="11" creationId="{8CC1343B-2E39-FEFF-8FF6-46822F18B432}"/>
          </ac:spMkLst>
        </pc:spChg>
        <pc:spChg chg="mod">
          <ac:chgData name="Sharma, Puneet K SBOBNG-PTIY/BHC" userId="1e691898-56e4-4ebc-bd46-ef8059d4d601" providerId="ADAL" clId="{1D37240B-70FF-4119-BF44-8AB7A0CE16FD}" dt="2024-08-30T17:50:14.324" v="6173" actId="20577"/>
          <ac:spMkLst>
            <pc:docMk/>
            <pc:sldMk cId="1148838763" sldId="2147375613"/>
            <ac:spMk id="12" creationId="{5A873A1A-E63F-91AE-7D43-ED0F86870147}"/>
          </ac:spMkLst>
        </pc:spChg>
        <pc:picChg chg="add mod modCrop">
          <ac:chgData name="Sharma, Puneet K SBOBNG-PTIY/BHC" userId="1e691898-56e4-4ebc-bd46-ef8059d4d601" providerId="ADAL" clId="{1D37240B-70FF-4119-BF44-8AB7A0CE16FD}" dt="2024-08-30T17:50:46.116" v="6181" actId="14100"/>
          <ac:picMkLst>
            <pc:docMk/>
            <pc:sldMk cId="1148838763" sldId="2147375613"/>
            <ac:picMk id="6" creationId="{59DFAE64-81D9-6F5B-1669-544CA2036043}"/>
          </ac:picMkLst>
        </pc:picChg>
      </pc:sldChg>
      <pc:sldChg chg="modSp mod">
        <pc:chgData name="Sharma, Puneet K SBOBNG-PTIY/BHC" userId="1e691898-56e4-4ebc-bd46-ef8059d4d601" providerId="ADAL" clId="{1D37240B-70FF-4119-BF44-8AB7A0CE16FD}" dt="2024-08-31T14:07:20.416" v="11476" actId="20577"/>
        <pc:sldMkLst>
          <pc:docMk/>
          <pc:sldMk cId="3865850111" sldId="2147375614"/>
        </pc:sldMkLst>
        <pc:spChg chg="mod">
          <ac:chgData name="Sharma, Puneet K SBOBNG-PTIY/BHC" userId="1e691898-56e4-4ebc-bd46-ef8059d4d601" providerId="ADAL" clId="{1D37240B-70FF-4119-BF44-8AB7A0CE16FD}" dt="2024-08-31T14:07:20.416" v="11476" actId="20577"/>
          <ac:spMkLst>
            <pc:docMk/>
            <pc:sldMk cId="3865850111" sldId="2147375614"/>
            <ac:spMk id="6" creationId="{AC2F88D2-81D4-FAD4-568E-A3F495B06411}"/>
          </ac:spMkLst>
        </pc:spChg>
      </pc:sld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3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Puneet Kumar Sharm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</a:t>
            </a:r>
            <a:r>
              <a:rPr lang="en-IN" sz="2800" b="1">
                <a:solidFill>
                  <a:schemeClr val="bg1"/>
                </a:solidFill>
              </a:rPr>
              <a:t>: 06-Sep-2024</a:t>
            </a:r>
            <a:endParaRPr lang="en-IN" sz="2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DBMS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Courier New" panose="02070309020205020404" pitchFamily="49" charset="0"/>
              <a:buChar char="o"/>
            </a:pPr>
            <a:r>
              <a:rPr lang="en-US" sz="2000" dirty="0"/>
              <a:t>Shell generates large amounts of data from its edge </a:t>
            </a:r>
            <a:r>
              <a:rPr lang="en-US" sz="2000" dirty="0" err="1"/>
              <a:t>equipments</a:t>
            </a:r>
            <a:r>
              <a:rPr lang="en-US" sz="2000" dirty="0"/>
              <a:t> through its IoT sensors which are streamed to monitoring servers and are stored in database servers as logs, having an efficient database management is crucial for Shell.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2000" dirty="0"/>
              <a:t>Shell benefits from DBMS by utilizing the most modern and efficient DBMS such as PostgreSQL which provides low latency and fast response time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BA &amp; Agile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83133" y="1860992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Courier New" panose="02070309020205020404" pitchFamily="49" charset="0"/>
              <a:buChar char="o"/>
            </a:pPr>
            <a:r>
              <a:rPr lang="en-US" sz="2000" dirty="0"/>
              <a:t>The challenge that I faced while implementing learnings in BA &amp; Agile is the difficulty in drafting detailed and comprehensive documents.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2000" dirty="0"/>
              <a:t>I plan to overcome this challenge by allowing myself to realize the importance of documentation and why it is important in software development life cycle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8" name="Picture 7" descr="A group of people sitting at a table with laptops&#10;&#10;Description automatically generated">
            <a:extLst>
              <a:ext uri="{FF2B5EF4-FFF2-40B4-BE49-F238E27FC236}">
                <a16:creationId xmlns:a16="http://schemas.microsoft.com/office/drawing/2014/main" id="{B17812F3-47AA-F88F-1424-6838FA76300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1816" y="1860992"/>
            <a:ext cx="3057181" cy="4076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DevOp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Courier New" panose="02070309020205020404" pitchFamily="49" charset="0"/>
              <a:buChar char="o"/>
            </a:pPr>
            <a:r>
              <a:rPr lang="en-US" sz="2000" dirty="0"/>
              <a:t>The challenge that I faced while implementing DevOps is the understanding of various tools which are crucial part of any DevOps infrastructure and implementation.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2000" dirty="0"/>
              <a:t>I Plan to overcome this challenge by allowing myself to segregate these tools on the basis of the level of infrastructure that they target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2" descr="7 Key Steps to Implement Devops Strategy in Your Organization">
            <a:extLst>
              <a:ext uri="{FF2B5EF4-FFF2-40B4-BE49-F238E27FC236}">
                <a16:creationId xmlns:a16="http://schemas.microsoft.com/office/drawing/2014/main" id="{052153AB-876F-CFD5-0DA6-9AC75EBB2C3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407"/>
          <a:stretch/>
        </p:blipFill>
        <p:spPr bwMode="auto">
          <a:xfrm>
            <a:off x="6400799" y="1860993"/>
            <a:ext cx="5434138" cy="4076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DBM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Courier New" panose="02070309020205020404" pitchFamily="49" charset="0"/>
              <a:buChar char="o"/>
            </a:pPr>
            <a:r>
              <a:rPr lang="en-US" sz="2000" dirty="0"/>
              <a:t>The challenge that I faced while implementing my learnings in DBMS is to understand what type of database is required in different use cases and scenarios.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2000" dirty="0"/>
              <a:t>I plan to overcome this challenge by educating myself first on the database that I have to use during training i.e., PostgreSQL and then expanding on to this knowledge for other types of databases as well.</a:t>
            </a:r>
          </a:p>
          <a:p>
            <a:pPr>
              <a:buFont typeface="Courier New" panose="02070309020205020404" pitchFamily="49" charset="0"/>
              <a:buChar char="o"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 about important topics in Software Engineering such as understanding the role of a Business Analyst and Agile Scrum.</a:t>
            </a:r>
          </a:p>
          <a:p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 about DevOps as a culture and DBMS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nday – Tuesday (2 Days for BA &amp; Agile)</a:t>
            </a:r>
          </a:p>
          <a:p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dnesday (1 Day for DevOps)</a:t>
            </a:r>
          </a:p>
          <a:p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ursday (1 Day for DBMS)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t the end of 2 days, I was able to understand the important role that BA plays in an organization and Agile Scrum.</a:t>
            </a:r>
          </a:p>
          <a:p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t the end of 3 days, I was able to understand DevOps as a culture and its important features.</a:t>
            </a:r>
          </a:p>
          <a:p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t the end of 4 days, I was able to understand different scenarios for the use of different types of DBMS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Courier New" panose="02070309020205020404" pitchFamily="49" charset="0"/>
              <a:buChar char="o"/>
            </a:pPr>
            <a:r>
              <a:rPr lang="en-US" sz="2000" dirty="0"/>
              <a:t>For this week, the fun activity was to develop user stories about a website, where we had to work in teams to develop fun user stories for this website, using these user stories we had to create acceptance criteria and test cases as well.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2000" dirty="0"/>
              <a:t>From this activity, I was able to learn the important concept of brainstorming in a team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8" name="Picture 7" descr="A computer screen with a keyboard&#10;&#10;Description automatically generated">
            <a:extLst>
              <a:ext uri="{FF2B5EF4-FFF2-40B4-BE49-F238E27FC236}">
                <a16:creationId xmlns:a16="http://schemas.microsoft.com/office/drawing/2014/main" id="{EE393209-5218-4F3E-4440-57A4317F357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7562" y="1963818"/>
            <a:ext cx="3057181" cy="4076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463550" y="1333735"/>
            <a:ext cx="10397489" cy="4662803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/>
              <a:t>During this week’s Foundational Training, I was able to grasp the key concepts through which Business Analysts work and the working of Agile Scrum as an Agile framework with all its artifacts and ceremonies. I was also able to learn DevOps which is a culture to unite the development team and the operations team so that they can function as a single unit to streamline the whole SDLC process, I was able to grasp the basic concepts of DBMS which database should be used in what scenarios.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Next week we are going to learn about Frontend Development, </a:t>
            </a:r>
            <a:r>
              <a:rPr lang="en-US" sz="2000" dirty="0" err="1"/>
              <a:t>.Net</a:t>
            </a:r>
            <a:r>
              <a:rPr lang="en-US" sz="2000" dirty="0"/>
              <a:t>/C#, Application Security and Experience Design and </a:t>
            </a:r>
            <a:r>
              <a:rPr lang="en-US" sz="2000" dirty="0" err="1"/>
              <a:t>Openhack</a:t>
            </a:r>
            <a:r>
              <a:rPr lang="en-US" sz="2000" dirty="0"/>
              <a:t> all these topics are very important for an application implementation and security perspective.</a:t>
            </a: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Proper understanding of concepts such as Frontend Development helps to develop the user interacting part of any application which is important considering the business requirements, </a:t>
            </a:r>
            <a:r>
              <a:rPr lang="en-US" sz="1800" dirty="0" err="1"/>
              <a:t>.Net</a:t>
            </a:r>
            <a:r>
              <a:rPr lang="en-US" sz="1800" dirty="0"/>
              <a:t>/C# helps to implement the application while Application Security helps us to understand how to integrate security in design.</a:t>
            </a:r>
          </a:p>
          <a:p>
            <a:pPr marL="0" indent="0">
              <a:lnSpc>
                <a:spcPct val="100000"/>
              </a:lnSpc>
              <a:buNone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The more you know, The more you realize that you know nothing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026" name="Picture 2" descr="Lone Wolf Wallpaper (57+ images)">
            <a:extLst>
              <a:ext uri="{FF2B5EF4-FFF2-40B4-BE49-F238E27FC236}">
                <a16:creationId xmlns:a16="http://schemas.microsoft.com/office/drawing/2014/main" id="{BEA4036C-EFE0-45DD-2E14-E80E0FF246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973" t="2667" r="10474"/>
          <a:stretch/>
        </p:blipFill>
        <p:spPr bwMode="auto">
          <a:xfrm>
            <a:off x="6913349" y="1831738"/>
            <a:ext cx="3391479" cy="4076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BA &amp; Agile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In this week’s BA &amp; Agile Class I learned the importance of Business Analyst and Software Testing.</a:t>
            </a:r>
          </a:p>
          <a:p>
            <a:r>
              <a:rPr lang="en-US" sz="2000" dirty="0"/>
              <a:t>The key takeaway from BA &amp; Agile class is the importance of documentation in software engineering and why it is important to clearly define and approve each and every requirement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computer screen with a message&#10;&#10;Description automatically generated">
            <a:extLst>
              <a:ext uri="{FF2B5EF4-FFF2-40B4-BE49-F238E27FC236}">
                <a16:creationId xmlns:a16="http://schemas.microsoft.com/office/drawing/2014/main" id="{C526CADE-1871-EEC5-4C5F-216B269E6AE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799" y="2545648"/>
            <a:ext cx="5360258" cy="2706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DevOps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Courier New" panose="02070309020205020404" pitchFamily="49" charset="0"/>
              <a:buChar char="o"/>
            </a:pPr>
            <a:r>
              <a:rPr lang="en-US" sz="2000" dirty="0"/>
              <a:t>In this week’s DevOps Class, I learned the importance, principles and benefits of DevOps not just as a framework but as a work culture.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2000" dirty="0"/>
              <a:t>The key takeaways from this week’s DevOps class are the tools which are used in continues integration and continues delivery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026" name="Picture 2" descr="7 Key Steps to Implement Devops Strategy in Your Organization">
            <a:extLst>
              <a:ext uri="{FF2B5EF4-FFF2-40B4-BE49-F238E27FC236}">
                <a16:creationId xmlns:a16="http://schemas.microsoft.com/office/drawing/2014/main" id="{025E39F8-2E97-8288-0883-E6B76B0ECE9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407"/>
          <a:stretch/>
        </p:blipFill>
        <p:spPr bwMode="auto">
          <a:xfrm>
            <a:off x="6400799" y="1860993"/>
            <a:ext cx="5434138" cy="4076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DBMS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Courier New" panose="02070309020205020404" pitchFamily="49" charset="0"/>
              <a:buChar char="o"/>
            </a:pPr>
            <a:r>
              <a:rPr lang="en-US" sz="2000" dirty="0"/>
              <a:t>In this week’s DBMS class I learned why it is important to have an efficient Database Management System, and why PostgreSQL is used in the industry.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2000" dirty="0"/>
              <a:t>The key takeaway for me was the structure in which SQL queries are used and how we can write efficient SQL querie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93EC88-DBC5-9F9B-B3FD-20C005A5FF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9" y="2601329"/>
            <a:ext cx="5331687" cy="2749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BA &amp; Agile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Courier New" panose="02070309020205020404" pitchFamily="49" charset="0"/>
              <a:buChar char="o"/>
            </a:pPr>
            <a:r>
              <a:rPr lang="en-US" sz="2000" dirty="0"/>
              <a:t>Shell implements Agile Scrum in its projects which is a modern agile framework as well as Shell employs Business Analysts to engage with the stakeholders particularly with the client.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2000" dirty="0"/>
              <a:t>Shell benefits through Agile Scrum by allowing its projects to rapidly adapt to the requirements of its clients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 DevOps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Courier New" panose="02070309020205020404" pitchFamily="49" charset="0"/>
              <a:buChar char="o"/>
            </a:pPr>
            <a:r>
              <a:rPr lang="en-US" sz="2000" dirty="0"/>
              <a:t>Shell implements DevOps by implementing </a:t>
            </a:r>
            <a:r>
              <a:rPr lang="en-US" sz="2000" dirty="0" err="1"/>
              <a:t>continuos</a:t>
            </a:r>
            <a:r>
              <a:rPr lang="en-US" sz="2000" dirty="0"/>
              <a:t> monitoring of its oil rigs which are constantly streaming tons of data live to its monitoring servers.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2000" dirty="0"/>
              <a:t>Shell benefits from DevOps by utilizing continuous monitoring to detect any defects in its onsite and edge </a:t>
            </a:r>
            <a:r>
              <a:rPr lang="en-US" sz="2000" dirty="0" err="1"/>
              <a:t>equipments</a:t>
            </a:r>
            <a:r>
              <a:rPr lang="en-US" sz="2000" dirty="0"/>
              <a:t> early and perform preventative maintenance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949</TotalTime>
  <Words>971</Words>
  <Application>Microsoft Office PowerPoint</Application>
  <PresentationFormat>Widescreen</PresentationFormat>
  <Paragraphs>70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Arial</vt:lpstr>
      <vt:lpstr>Calibri</vt:lpstr>
      <vt:lpstr>Courier New</vt:lpstr>
      <vt:lpstr>Office Theme</vt:lpstr>
      <vt:lpstr>think-cell Slide</vt:lpstr>
      <vt:lpstr>PowerPoint Presentation</vt:lpstr>
      <vt:lpstr>About Me</vt:lpstr>
      <vt:lpstr>PowerPoint Presentation</vt:lpstr>
      <vt:lpstr>BA &amp; Agile | My takeaways</vt:lpstr>
      <vt:lpstr>DevOps | My takeaways</vt:lpstr>
      <vt:lpstr>DBMS | My takeaways</vt:lpstr>
      <vt:lpstr>PowerPoint Presentation</vt:lpstr>
      <vt:lpstr>BA &amp; Agile | Relevance for Shell</vt:lpstr>
      <vt:lpstr> DevOps | Relevance for Shell</vt:lpstr>
      <vt:lpstr>DBMS | Relevance for Shell</vt:lpstr>
      <vt:lpstr>PowerPoint Presentation</vt:lpstr>
      <vt:lpstr>Challenge faced while implementing BA &amp; Agile</vt:lpstr>
      <vt:lpstr>Challenge faced while implementing DevOps</vt:lpstr>
      <vt:lpstr>Challenge faced while implementing DBMS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Sharma, Puneet K SBOBNG-PTIY/BHC</cp:lastModifiedBy>
  <cp:revision>513</cp:revision>
  <dcterms:created xsi:type="dcterms:W3CDTF">2022-01-18T12:35:56Z</dcterms:created>
  <dcterms:modified xsi:type="dcterms:W3CDTF">2024-09-06T13:4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